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</p:sldMasterIdLst>
  <p:notesMasterIdLst>
    <p:notesMasterId r:id="rId11"/>
  </p:notesMasterIdLst>
  <p:handoutMasterIdLst>
    <p:handoutMasterId r:id="rId12"/>
  </p:handoutMasterIdLst>
  <p:sldIdLst>
    <p:sldId id="313" r:id="rId6"/>
    <p:sldId id="315" r:id="rId7"/>
    <p:sldId id="314" r:id="rId8"/>
    <p:sldId id="322" r:id="rId9"/>
    <p:sldId id="316" r:id="rId1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507A6E-D5D9-8D0E-FED4-A24E668897E4}" name="Sun, Lauren" initials="SL" userId="S::Lauren.Sun@treasury.gov::1a5e9364-aa09-4e8e-9488-4f637e8083aa" providerId="AD"/>
  <p188:author id="{9F229499-416B-B81E-E966-411C9A0E783B}" name="Office of Chief Counsel" initials="OCC" userId="Office of Chief Counsel" providerId="None"/>
  <p188:author id="{8D7F13B7-AB85-ECA8-E68E-EADD7242686D}" name="Office of the Chief Counsel" initials="OCC" userId="Office of the Chief Counsel" providerId="None"/>
  <p188:author id="{64BF21C0-A3ED-04F3-2F38-BD640D50530F}" name="Laura Deegan" initials="LD" userId="S::Laura.Deegan@treasury.gov::1872d807-5019-45da-b3c1-11c7021643a0" providerId="AD"/>
  <p188:author id="{C31A2ED0-CA55-2B8B-926F-518B062E7BD4}" name="Goodrich, Nicholas" initials="GN" userId="S::Nicholas.Goodrich@treasury.gov::4de92709-b161-49d0-8690-b59434e46c9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ewer, Jacqueline" initials="BJ" lastIdx="9" clrIdx="0">
    <p:extLst>
      <p:ext uri="{19B8F6BF-5375-455C-9EA6-DF929625EA0E}">
        <p15:presenceInfo xmlns:p15="http://schemas.microsoft.com/office/powerpoint/2012/main" userId="S-1-5-21-337608596-297798339-1050887974-847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B74A1"/>
    <a:srgbClr val="A1B2CB"/>
    <a:srgbClr val="175DE9"/>
    <a:srgbClr val="397EE3"/>
    <a:srgbClr val="86B0EE"/>
    <a:srgbClr val="0378E3"/>
    <a:srgbClr val="369EFC"/>
    <a:srgbClr val="83C3FD"/>
    <a:srgbClr val="016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49882" autoAdjust="0"/>
  </p:normalViewPr>
  <p:slideViewPr>
    <p:cSldViewPr snapToGrid="0">
      <p:cViewPr varScale="1">
        <p:scale>
          <a:sx n="115" d="100"/>
          <a:sy n="115" d="100"/>
        </p:scale>
        <p:origin x="1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3" d="100"/>
          <a:sy n="73" d="100"/>
        </p:scale>
        <p:origin x="2712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3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BBC0E6-23B8-47A6-B4EC-725C2A3AAFF6}" type="datetimeFigureOut">
              <a:rPr lang="en-US" smtClean="0"/>
              <a:t>10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8E060E-3751-4E58-81F4-9FB82C5F95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99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E414753F-AAD1-47E3-9A17-905BE817CD09}" type="datetimeFigureOut">
              <a:rPr lang="en-US" smtClean="0"/>
              <a:t>10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41BB7DF-617B-43C3-A2A6-658F61E72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849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711200"/>
            <a:ext cx="6315075" cy="3552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44285"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</a:rPr>
              <a:pPr defTabSz="1244285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000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711200"/>
            <a:ext cx="6315075" cy="3552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44285"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</a:rPr>
              <a:pPr defTabSz="1244285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298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711200"/>
            <a:ext cx="6315075" cy="3552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44285"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</a:rPr>
              <a:pPr defTabSz="1244285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173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711200"/>
            <a:ext cx="6315075" cy="3552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44285"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</a:rPr>
              <a:pPr defTabSz="1244285">
                <a:defRPr/>
              </a:pPr>
              <a:t>4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423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711200"/>
            <a:ext cx="6315075" cy="3552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44285"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</a:rPr>
              <a:pPr defTabSz="1244285">
                <a:defRPr/>
              </a:pPr>
              <a:t>5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873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6660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9463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67090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172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62900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8264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086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998573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9985739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285541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03199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211792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80446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321025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  <a:p>
            <a:pPr lvl="4"/>
            <a:endParaRPr lang="en-US" noProof="0" dirty="0"/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38972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49521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97674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788537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06516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971682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311047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9564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226292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043644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6404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78438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186535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988315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519098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rgbClr val="00B0F0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364020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57887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19851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09171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02718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1122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8838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959298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967246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171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506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9784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459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468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9998653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8553" y="113506"/>
            <a:ext cx="149701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3048000" y="661177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b="0" dirty="0">
                <a:solidFill>
                  <a:schemeClr val="accent6"/>
                </a:solidFill>
              </a:rPr>
              <a:t>The information in these slides is for training purposes and does not have the force of law.</a:t>
            </a:r>
          </a:p>
        </p:txBody>
      </p:sp>
    </p:spTree>
    <p:extLst>
      <p:ext uri="{BB962C8B-B14F-4D97-AF65-F5344CB8AC3E}">
        <p14:creationId xmlns:p14="http://schemas.microsoft.com/office/powerpoint/2010/main" val="1954699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717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  <p:sldLayoutId id="2147483700" r:id="rId29"/>
    <p:sldLayoutId id="2147483701" r:id="rId30"/>
    <p:sldLayoutId id="2147483702" r:id="rId31"/>
    <p:sldLayoutId id="2147483703" r:id="rId32"/>
    <p:sldLayoutId id="2147483704" r:id="rId33"/>
    <p:sldLayoutId id="2147483705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cfr.gov/cgi-bin/text-idx?SID=8cda5e58af06fd08e5ce40158f7f1f9c&amp;mc=true&amp;tpl=/ecfrbrowse/Title31/31cfrv3_02.tpl#0" TargetMode="External"/><Relationship Id="rId3" Type="http://schemas.openxmlformats.org/officeDocument/2006/relationships/hyperlink" Target="https://sanctionssearch.ofac.treas.gov/" TargetMode="External"/><Relationship Id="rId7" Type="http://schemas.openxmlformats.org/officeDocument/2006/relationships/hyperlink" Target="https://www.treasury.gov/resource-center/sanctions/Programs/Pages/Programs.aspx" TargetMode="External"/><Relationship Id="rId12" Type="http://schemas.openxmlformats.org/officeDocument/2006/relationships/hyperlink" Target="https://home.treasury.gov/system/files/126/ngo_humanitarian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treasury.gov/resource-center/sanctions/CivPen/Pages/civpen-index2.aspx" TargetMode="External"/><Relationship Id="rId11" Type="http://schemas.openxmlformats.org/officeDocument/2006/relationships/hyperlink" Target="https://home.treasury.gov/system/files/126/virtual_currency_guidance_brochure.pdf" TargetMode="External"/><Relationship Id="rId5" Type="http://schemas.openxmlformats.org/officeDocument/2006/relationships/hyperlink" Target="https://www.treasury.gov/resource-center/faqs/Sanctions/Pages/ques_index.aspx" TargetMode="External"/><Relationship Id="rId10" Type="http://schemas.openxmlformats.org/officeDocument/2006/relationships/hyperlink" Target="https://home.treasury.gov/system/files/126/false_hit.pdf" TargetMode="External"/><Relationship Id="rId4" Type="http://schemas.openxmlformats.org/officeDocument/2006/relationships/hyperlink" Target="https://www.treasury.gov/resource-center/sanctions/OFAC-Enforcement/Pages/OFAC-Recent-Actions.aspx" TargetMode="External"/><Relationship Id="rId9" Type="http://schemas.openxmlformats.org/officeDocument/2006/relationships/hyperlink" Target="https://home.treasury.gov/system/files/126/framework_ofac_cc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4294967295"/>
          </p:nvPr>
        </p:nvSpPr>
        <p:spPr>
          <a:xfrm>
            <a:off x="1981200" y="1245432"/>
            <a:ext cx="8229600" cy="1410220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AC Resources and Contact Information</a:t>
            </a:r>
          </a:p>
        </p:txBody>
      </p:sp>
      <p:pic>
        <p:nvPicPr>
          <p:cNvPr id="3" name="Picture 2" descr="Image result for department of the treasury + se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7706" y="2330084"/>
            <a:ext cx="2696588" cy="2697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012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430989" y="132474"/>
            <a:ext cx="9985739" cy="334102"/>
          </a:xfrm>
        </p:spPr>
        <p:txBody>
          <a:bodyPr/>
          <a:lstStyle/>
          <a:p>
            <a:r>
              <a:rPr lang="en-US" sz="3600" dirty="0">
                <a:latin typeface="Garamond" panose="02020404030301010803" pitchFamily="18" charset="0"/>
              </a:rPr>
              <a:t>Contact Information</a:t>
            </a:r>
          </a:p>
        </p:txBody>
      </p:sp>
      <p:sp>
        <p:nvSpPr>
          <p:cNvPr id="3" name="TextBox 5"/>
          <p:cNvSpPr txBox="1">
            <a:spLocks noChangeArrowheads="1"/>
          </p:cNvSpPr>
          <p:nvPr/>
        </p:nvSpPr>
        <p:spPr bwMode="auto">
          <a:xfrm>
            <a:off x="430989" y="712349"/>
            <a:ext cx="9617683" cy="5595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u="sng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AC Compliance Hotline: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ll Free: 1-800-540-6322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one: 202-622-249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ail: OFAC_Feedback@treasury.gov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endParaRPr lang="en-US" sz="2400" b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u="sng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AC Licensing: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-202-622-248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endParaRPr lang="en-US" sz="2400" b="1" kern="0" dirty="0">
              <a:solidFill>
                <a:srgbClr val="FF66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treasury.gov/ofac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endParaRPr lang="en-US" sz="2400" b="1" kern="0" dirty="0">
              <a:solidFill>
                <a:srgbClr val="FF66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.S. Department of the Treasury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fice of Foreign Assets Control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eedman’s Bank Building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00 Pennsylvania Avenue, NW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hington, DC 20220</a:t>
            </a:r>
          </a:p>
        </p:txBody>
      </p:sp>
      <p:pic>
        <p:nvPicPr>
          <p:cNvPr id="12" name="Picture 4" descr="hotline_ofac_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394686">
            <a:off x="7148535" y="1294878"/>
            <a:ext cx="3688031" cy="454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986498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7931" y="869533"/>
            <a:ext cx="4716138" cy="57901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430989" y="132474"/>
            <a:ext cx="9985739" cy="334102"/>
          </a:xfrm>
        </p:spPr>
        <p:txBody>
          <a:bodyPr/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nctions Resources</a:t>
            </a:r>
          </a:p>
        </p:txBody>
      </p:sp>
      <p:sp>
        <p:nvSpPr>
          <p:cNvPr id="21" name="Oval Callout 20"/>
          <p:cNvSpPr/>
          <p:nvPr/>
        </p:nvSpPr>
        <p:spPr bwMode="gray">
          <a:xfrm>
            <a:off x="8257145" y="3939702"/>
            <a:ext cx="2840477" cy="2320993"/>
          </a:xfrm>
          <a:prstGeom prst="wedgeEllipseCallout">
            <a:avLst>
              <a:gd name="adj1" fmla="val -43242"/>
              <a:gd name="adj2" fmla="val 45254"/>
            </a:avLst>
          </a:prstGeom>
          <a:solidFill>
            <a:schemeClr val="accent4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>
                <a:solidFill>
                  <a:schemeClr val="bg1"/>
                </a:solidFill>
                <a:latin typeface="Garamond" panose="02020404030301010803" pitchFamily="18" charset="0"/>
              </a:rPr>
              <a:t>Read FAQs &amp; Guidance</a:t>
            </a:r>
          </a:p>
        </p:txBody>
      </p:sp>
      <p:sp>
        <p:nvSpPr>
          <p:cNvPr id="23" name="Rounded Rectangular Callout 22"/>
          <p:cNvSpPr/>
          <p:nvPr/>
        </p:nvSpPr>
        <p:spPr bwMode="gray">
          <a:xfrm>
            <a:off x="262648" y="2431916"/>
            <a:ext cx="3475284" cy="1371582"/>
          </a:xfrm>
          <a:prstGeom prst="wedgeRoundRectCallout">
            <a:avLst>
              <a:gd name="adj1" fmla="val 39284"/>
              <a:gd name="adj2" fmla="val 73653"/>
              <a:gd name="adj3" fmla="val 16667"/>
            </a:avLst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>
                <a:solidFill>
                  <a:schemeClr val="bg1"/>
                </a:solidFill>
                <a:latin typeface="Garamond" panose="02020404030301010803" pitchFamily="18" charset="0"/>
              </a:rPr>
              <a:t>Apply for a Specific License</a:t>
            </a:r>
          </a:p>
        </p:txBody>
      </p:sp>
      <p:sp>
        <p:nvSpPr>
          <p:cNvPr id="26" name="Left Arrow 25"/>
          <p:cNvSpPr/>
          <p:nvPr/>
        </p:nvSpPr>
        <p:spPr bwMode="gray">
          <a:xfrm>
            <a:off x="7976680" y="1064087"/>
            <a:ext cx="3401408" cy="1826888"/>
          </a:xfrm>
          <a:prstGeom prst="leftArrow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>
                <a:solidFill>
                  <a:schemeClr val="bg1"/>
                </a:solidFill>
                <a:latin typeface="Garamond" panose="02020404030301010803" pitchFamily="18" charset="0"/>
              </a:rPr>
              <a:t>See Recent Actions</a:t>
            </a:r>
          </a:p>
        </p:txBody>
      </p:sp>
    </p:spTree>
    <p:extLst>
      <p:ext uri="{BB962C8B-B14F-4D97-AF65-F5344CB8AC3E}">
        <p14:creationId xmlns:p14="http://schemas.microsoft.com/office/powerpoint/2010/main" val="109338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255" y="814691"/>
            <a:ext cx="5038524" cy="5715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430989" y="132474"/>
            <a:ext cx="9985739" cy="334102"/>
          </a:xfrm>
        </p:spPr>
        <p:txBody>
          <a:bodyPr/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nctions Resources</a:t>
            </a:r>
          </a:p>
        </p:txBody>
      </p:sp>
      <p:sp>
        <p:nvSpPr>
          <p:cNvPr id="22" name="Rectangular Callout 21"/>
          <p:cNvSpPr/>
          <p:nvPr/>
        </p:nvSpPr>
        <p:spPr bwMode="gray">
          <a:xfrm>
            <a:off x="690664" y="1165896"/>
            <a:ext cx="2422591" cy="1888589"/>
          </a:xfrm>
          <a:prstGeom prst="wedgeRectCallout">
            <a:avLst>
              <a:gd name="adj1" fmla="val 41544"/>
              <a:gd name="adj2" fmla="val 77722"/>
            </a:avLst>
          </a:prstGeom>
          <a:solidFill>
            <a:schemeClr val="accent4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Search the SDN List</a:t>
            </a:r>
          </a:p>
        </p:txBody>
      </p:sp>
      <p:sp>
        <p:nvSpPr>
          <p:cNvPr id="24" name="Cloud Callout 23"/>
          <p:cNvSpPr/>
          <p:nvPr/>
        </p:nvSpPr>
        <p:spPr bwMode="gray">
          <a:xfrm>
            <a:off x="8005861" y="3628417"/>
            <a:ext cx="3463049" cy="2074121"/>
          </a:xfrm>
          <a:prstGeom prst="cloudCallout">
            <a:avLst>
              <a:gd name="adj1" fmla="val -48383"/>
              <a:gd name="adj2" fmla="val 58808"/>
            </a:avLst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>
                <a:solidFill>
                  <a:schemeClr val="bg1"/>
                </a:solidFill>
                <a:latin typeface="Garamond" panose="02020404030301010803" pitchFamily="18" charset="0"/>
              </a:rPr>
              <a:t>Learn about the programs</a:t>
            </a:r>
          </a:p>
        </p:txBody>
      </p:sp>
    </p:spTree>
    <p:extLst>
      <p:ext uri="{BB962C8B-B14F-4D97-AF65-F5344CB8AC3E}">
        <p14:creationId xmlns:p14="http://schemas.microsoft.com/office/powerpoint/2010/main" val="391445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430989" y="132474"/>
            <a:ext cx="9985739" cy="334102"/>
          </a:xfrm>
        </p:spPr>
        <p:txBody>
          <a:bodyPr/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AC Resources</a:t>
            </a:r>
          </a:p>
        </p:txBody>
      </p:sp>
      <p:sp>
        <p:nvSpPr>
          <p:cNvPr id="3" name="TextBox 5"/>
          <p:cNvSpPr txBox="1">
            <a:spLocks noChangeArrowheads="1"/>
          </p:cNvSpPr>
          <p:nvPr/>
        </p:nvSpPr>
        <p:spPr bwMode="auto">
          <a:xfrm>
            <a:off x="289329" y="1399973"/>
            <a:ext cx="11679758" cy="408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588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anctions List Search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OFAC Recent Actions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OFAC's Frequently Asked Questions (FAQs)</a:t>
            </a: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Civil Penalties and Enforcement Information 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Sanctions Programs and Country Information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eCFR</a:t>
            </a: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9"/>
              </a:rPr>
              <a:t>A Framework for OFAC Compliance Commitments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10"/>
              </a:rPr>
              <a:t>False Hit Lists Guidance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11"/>
              </a:rPr>
              <a:t>Sanctions Compliance Guidance for the Virtual Currency Industry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Char char="•"/>
              <a:tabLst>
                <a:tab pos="1023938" algn="l"/>
                <a:tab pos="1377950" algn="l"/>
                <a:tab pos="1828800" algn="l"/>
              </a:tabLst>
              <a:defRPr/>
            </a:pPr>
            <a:r>
              <a:rPr lang="en-US" sz="2400" kern="0" dirty="0">
                <a:latin typeface="Times New Roman" panose="02020603050405020304" pitchFamily="18" charset="0"/>
                <a:cs typeface="Times New Roman" panose="02020603050405020304" pitchFamily="18" charset="0"/>
                <a:hlinkClick r:id="rId12"/>
              </a:rPr>
              <a:t>Guidance Related to the Provision of Humanitarian Assistance by Not-For-Profit Non-Governmental Organizations</a:t>
            </a:r>
            <a:endParaRPr lang="en-US" sz="24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26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3ffe17a5-92c8-49ca-a262-fc99e4bce9b3" xsi:nil="true"/>
    <_dlc_DocId xmlns="9c8b7b2c-8739-4fcf-ac7a-83e2acbb4ec9">K4QNK5PQFHXR-352-13</_dlc_DocId>
    <_dlc_DocIdUrl xmlns="9c8b7b2c-8739-4fcf-ac7a-83e2acbb4ec9">
      <Url>https://my.treas.gov/Collab/OFAC/OCE/Enforcement/Events/_layouts/15/DocIdRedir.aspx?ID=K4QNK5PQFHXR-352-13</Url>
      <Description>K4QNK5PQFHXR-352-13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40232E1A0B36459513E7A7C2723159" ma:contentTypeVersion="1" ma:contentTypeDescription="Create a new document." ma:contentTypeScope="" ma:versionID="2292a93238115c3dff445b3749d99992">
  <xsd:schema xmlns:xsd="http://www.w3.org/2001/XMLSchema" xmlns:xs="http://www.w3.org/2001/XMLSchema" xmlns:p="http://schemas.microsoft.com/office/2006/metadata/properties" xmlns:ns2="9c8b7b2c-8739-4fcf-ac7a-83e2acbb4ec9" xmlns:ns3="3ffe17a5-92c8-49ca-a262-fc99e4bce9b3" targetNamespace="http://schemas.microsoft.com/office/2006/metadata/properties" ma:root="true" ma:fieldsID="f66ffcc4616a1f0c289076c5ce48dffa" ns2:_="" ns3:_="">
    <xsd:import namespace="9c8b7b2c-8739-4fcf-ac7a-83e2acbb4ec9"/>
    <xsd:import namespace="3ffe17a5-92c8-49ca-a262-fc99e4bce9b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escription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8b7b2c-8739-4fcf-ac7a-83e2acbb4ec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fe17a5-92c8-49ca-a262-fc99e4bce9b3" elementFormDefault="qualified">
    <xsd:import namespace="http://schemas.microsoft.com/office/2006/documentManagement/types"/>
    <xsd:import namespace="http://schemas.microsoft.com/office/infopath/2007/PartnerControls"/>
    <xsd:element name="Description0" ma:index="11" nillable="true" ma:displayName="Description" ma:internalName="Description0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9B2433-9020-4255-962B-918C03A100AE}">
  <ds:schemaRefs>
    <ds:schemaRef ds:uri="3ffe17a5-92c8-49ca-a262-fc99e4bce9b3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9c8b7b2c-8739-4fcf-ac7a-83e2acbb4ec9"/>
  </ds:schemaRefs>
</ds:datastoreItem>
</file>

<file path=customXml/itemProps2.xml><?xml version="1.0" encoding="utf-8"?>
<ds:datastoreItem xmlns:ds="http://schemas.openxmlformats.org/officeDocument/2006/customXml" ds:itemID="{F0DF83FD-B1E5-4259-95E7-305EB0C43E85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6950073-6233-4C0D-B4A4-3370BF48D3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8b7b2c-8739-4fcf-ac7a-83e2acbb4ec9"/>
    <ds:schemaRef ds:uri="3ffe17a5-92c8-49ca-a262-fc99e4bce9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E13444E-80B9-4D68-B456-5A21BF324A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783</TotalTime>
  <Words>134</Words>
  <Application>Microsoft Office PowerPoint</Application>
  <PresentationFormat>Geniş ekran</PresentationFormat>
  <Paragraphs>40</Paragraphs>
  <Slides>5</Slides>
  <Notes>5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5</vt:i4>
      </vt:variant>
    </vt:vector>
  </HeadingPairs>
  <TitlesOfParts>
    <vt:vector size="16" baseType="lpstr">
      <vt:lpstr>MS PGothic</vt:lpstr>
      <vt:lpstr>Arial</vt:lpstr>
      <vt:lpstr>Calibri</vt:lpstr>
      <vt:lpstr>Garamond</vt:lpstr>
      <vt:lpstr>Open Sans</vt:lpstr>
      <vt:lpstr>Times New Roman</vt:lpstr>
      <vt:lpstr>Verdana</vt:lpstr>
      <vt:lpstr>Wingdings</vt:lpstr>
      <vt:lpstr>Wingdings 2</vt:lpstr>
      <vt:lpstr>Deloitte_US_Onscreen</vt:lpstr>
      <vt:lpstr>think-cell Slide</vt:lpstr>
      <vt:lpstr>PowerPoint Sunusu</vt:lpstr>
      <vt:lpstr>Contact Information</vt:lpstr>
      <vt:lpstr>Sanctions Resources</vt:lpstr>
      <vt:lpstr>Sanctions Resources</vt:lpstr>
      <vt:lpstr>OFAC Resources</vt:lpstr>
    </vt:vector>
  </TitlesOfParts>
  <Company>Department of the Treasu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, Brandon</dc:creator>
  <cp:lastModifiedBy>KAAN GAFFAROĞLU</cp:lastModifiedBy>
  <cp:revision>356</cp:revision>
  <cp:lastPrinted>2020-02-13T14:43:48Z</cp:lastPrinted>
  <dcterms:created xsi:type="dcterms:W3CDTF">2019-09-30T20:26:21Z</dcterms:created>
  <dcterms:modified xsi:type="dcterms:W3CDTF">2022-10-21T11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40232E1A0B36459513E7A7C2723159</vt:lpwstr>
  </property>
  <property fmtid="{D5CDD505-2E9C-101B-9397-08002B2CF9AE}" pid="3" name="_dlc_DocIdItemGuid">
    <vt:lpwstr>790817b5-4ecf-4390-b105-80dc039b6134</vt:lpwstr>
  </property>
</Properties>
</file>